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0"/>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 id="491" r:id="rId48"/>
    <p:sldId id="492" r:id="rId49"/>
  </p:sldIdLst>
  <p:sldSz cx="12192000" cy="6858000"/>
  <p:notesSz cx="6858000" cy="9144000"/>
  <p:custDataLst>
    <p:tags r:id="rId5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86" autoAdjust="0"/>
    <p:restoredTop sz="91839" autoAdjust="0"/>
  </p:normalViewPr>
  <p:slideViewPr>
    <p:cSldViewPr snapToGrid="0">
      <p:cViewPr varScale="1">
        <p:scale>
          <a:sx n="105" d="100"/>
          <a:sy n="105" d="100"/>
        </p:scale>
        <p:origin x="1380" y="60"/>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30"/>
            <a:ext cx="4996444" cy="5715356"/>
            <a:chOff x="2690231" y="189230"/>
            <a:chExt cx="4996444" cy="5715356"/>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30"/>
              <a:ext cx="4996444" cy="5715356"/>
              <a:chOff x="2690231" y="189230"/>
              <a:chExt cx="4996444" cy="5715356"/>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30"/>
                <a:ext cx="4930523" cy="570433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641786" y="811334"/>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665427"/>
            <a:ext cx="3695440" cy="4672088"/>
            <a:chOff x="5239355" y="665427"/>
            <a:chExt cx="3695440" cy="4672088"/>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665427"/>
              <a:ext cx="3695440" cy="4672088"/>
              <a:chOff x="5239355" y="665427"/>
              <a:chExt cx="3695440" cy="4672088"/>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665427"/>
                <a:ext cx="3695440" cy="4672088"/>
                <a:chOff x="5239355" y="665427"/>
                <a:chExt cx="3695440" cy="4672088"/>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665427"/>
                  <a:ext cx="3695440" cy="4672088"/>
                  <a:chOff x="5291815" y="47358"/>
                  <a:chExt cx="3695440" cy="4672088"/>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47358"/>
                    <a:ext cx="3695440" cy="4672088"/>
                    <a:chOff x="5291815" y="47358"/>
                    <a:chExt cx="3695440" cy="4672088"/>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47358"/>
                      <a:ext cx="3695440" cy="4672088"/>
                      <a:chOff x="5291815" y="47358"/>
                      <a:chExt cx="3695440" cy="4672088"/>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47358"/>
                        <a:ext cx="3695440" cy="4672088"/>
                        <a:chOff x="5291815" y="47358"/>
                        <a:chExt cx="3695440" cy="4672088"/>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47358"/>
                          <a:ext cx="3695440" cy="4672088"/>
                          <a:chOff x="5291815" y="47358"/>
                          <a:chExt cx="3695440" cy="4672088"/>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47358"/>
                            <a:ext cx="3695440" cy="4672088"/>
                            <a:chOff x="5291815" y="47358"/>
                            <a:chExt cx="3695440" cy="4672088"/>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47358"/>
                              <a:ext cx="3695440" cy="4672088"/>
                              <a:chOff x="5291815" y="47358"/>
                              <a:chExt cx="3695440" cy="4672088"/>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47358"/>
                                <a:ext cx="3695440" cy="4672088"/>
                                <a:chOff x="5291815" y="47358"/>
                                <a:chExt cx="3695440" cy="4672088"/>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47358"/>
                                  <a:ext cx="3695440" cy="4672088"/>
                                  <a:chOff x="5291815" y="47358"/>
                                  <a:chExt cx="3695440" cy="4672088"/>
                                </a:xfrm>
                              </p:grpSpPr>
                              <p:sp>
                                <p:nvSpPr>
                                  <p:cNvPr id="18" name="Rechteck 17">
                                    <a:extLst>
                                      <a:ext uri="{FF2B5EF4-FFF2-40B4-BE49-F238E27FC236}">
                                        <a16:creationId xmlns:a16="http://schemas.microsoft.com/office/drawing/2014/main" id="{31EF5CDD-FF3D-42EC-639D-BEE68101E676}"/>
                                      </a:ext>
                                    </a:extLst>
                                  </p:cNvPr>
                                  <p:cNvSpPr/>
                                  <p:nvPr/>
                                </p:nvSpPr>
                                <p:spPr>
                                  <a:xfrm>
                                    <a:off x="5291819" y="99321"/>
                                    <a:ext cx="3695435" cy="4620125"/>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sp>
                                <p:nvSpPr>
                                  <p:cNvPr id="1424" name="Rectangle 21">
                                    <a:extLst>
                                      <a:ext uri="{FF2B5EF4-FFF2-40B4-BE49-F238E27FC236}">
                                        <a16:creationId xmlns:a16="http://schemas.microsoft.com/office/drawing/2014/main" id="{C6479740-D8CC-A16C-87B1-9A6E358D2E9E}"/>
                                      </a:ext>
                                    </a:extLst>
                                  </p:cNvPr>
                                  <p:cNvSpPr/>
                                  <p:nvPr/>
                                </p:nvSpPr>
                                <p:spPr>
                                  <a:xfrm>
                                    <a:off x="5291819" y="47358"/>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r="-3571"/>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379988"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281516"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800727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625758"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37998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367246" y="6017267"/>
                <a:ext cx="180001" cy="24445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8007274"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62575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79988"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229125"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80072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625758"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379988"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367246" y="6302453"/>
                <a:ext cx="180001" cy="226738"/>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8007274"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625758"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a:off x="8107162" y="3297084"/>
              <a:ext cx="0"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a:off x="8479876" y="3297084"/>
              <a:ext cx="0" cy="103603"/>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a:off x="7725646" y="3297084"/>
              <a:ext cx="0"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537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78328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16480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82409"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a:off x="7725646"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725646" y="3580687"/>
              <a:ext cx="75423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725646" y="3580687"/>
              <a:ext cx="381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10639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10639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a:off x="8479876"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a:off x="8107162" y="3580687"/>
              <a:ext cx="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107162" y="3580687"/>
              <a:ext cx="37271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725646" y="3580687"/>
              <a:ext cx="38151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8107162" y="3580687"/>
              <a:ext cx="37271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725646" y="3580687"/>
              <a:ext cx="75423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436639"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725646"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a:off x="7725646"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a:off x="8107162"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a:off x="8479876" y="3864534"/>
              <a:ext cx="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8107162"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479876" y="4157820"/>
              <a:ext cx="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8107162" y="3864534"/>
              <a:ext cx="37271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725646" y="3864534"/>
              <a:ext cx="38151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5299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725646" y="3864534"/>
              <a:ext cx="38151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8107162" y="3864534"/>
              <a:ext cx="37271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725646" y="3864534"/>
              <a:ext cx="75423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28413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68240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106392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43663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91142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725646" y="3864534"/>
              <a:ext cx="75423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52990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91142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28413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52990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725646" y="4157820"/>
              <a:ext cx="38151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725646" y="4157820"/>
              <a:ext cx="75423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725646" y="4157820"/>
              <a:ext cx="38151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8107162" y="4157820"/>
              <a:ext cx="37271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91142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8107162" y="4157820"/>
              <a:ext cx="37271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725646" y="4157820"/>
              <a:ext cx="75423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28413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93768" y="3589759"/>
              <a:ext cx="265906" cy="1889614"/>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026228923"/>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1395" name="Gruppieren 1394">
            <a:extLst>
              <a:ext uri="{FF2B5EF4-FFF2-40B4-BE49-F238E27FC236}">
                <a16:creationId xmlns:a16="http://schemas.microsoft.com/office/drawing/2014/main" id="{D65A7F6A-4C8D-79EA-4A4E-E8523395D4FB}"/>
              </a:ext>
            </a:extLst>
          </p:cNvPr>
          <p:cNvGrpSpPr/>
          <p:nvPr/>
        </p:nvGrpSpPr>
        <p:grpSpPr>
          <a:xfrm>
            <a:off x="1153865" y="2635249"/>
            <a:ext cx="8796585" cy="2215550"/>
            <a:chOff x="1153865" y="2635249"/>
            <a:chExt cx="8796585" cy="2215550"/>
          </a:xfrm>
        </p:grpSpPr>
        <p:sp>
          <p:nvSpPr>
            <p:cNvPr id="1367" name="Rechteck 1366">
              <a:extLst>
                <a:ext uri="{FF2B5EF4-FFF2-40B4-BE49-F238E27FC236}">
                  <a16:creationId xmlns:a16="http://schemas.microsoft.com/office/drawing/2014/main" id="{35219AEC-8BD2-2BD7-0FBC-EEE70B83A454}"/>
                </a:ext>
              </a:extLst>
            </p:cNvPr>
            <p:cNvSpPr/>
            <p:nvPr/>
          </p:nvSpPr>
          <p:spPr>
            <a:xfrm>
              <a:off x="1153865" y="2635249"/>
              <a:ext cx="8796585" cy="2215549"/>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1368" name="Gruppieren 1367">
              <a:extLst>
                <a:ext uri="{FF2B5EF4-FFF2-40B4-BE49-F238E27FC236}">
                  <a16:creationId xmlns:a16="http://schemas.microsoft.com/office/drawing/2014/main" id="{4D3682BC-D19F-E928-2DB9-E3180D34B82D}"/>
                </a:ext>
              </a:extLst>
            </p:cNvPr>
            <p:cNvGrpSpPr/>
            <p:nvPr/>
          </p:nvGrpSpPr>
          <p:grpSpPr>
            <a:xfrm>
              <a:off x="1153865" y="2699826"/>
              <a:ext cx="8711386" cy="2150973"/>
              <a:chOff x="245462" y="3567107"/>
              <a:chExt cx="8711386" cy="2150973"/>
            </a:xfrm>
          </p:grpSpPr>
          <p:pic>
            <p:nvPicPr>
              <p:cNvPr id="1369" name="Grafik 1368">
                <a:extLst>
                  <a:ext uri="{FF2B5EF4-FFF2-40B4-BE49-F238E27FC236}">
                    <a16:creationId xmlns:a16="http://schemas.microsoft.com/office/drawing/2014/main" id="{42BD12A0-9BA7-DF4F-9CEB-92DAB6F38C0D}"/>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371" name="Gruppieren 1370">
                <a:extLst>
                  <a:ext uri="{FF2B5EF4-FFF2-40B4-BE49-F238E27FC236}">
                    <a16:creationId xmlns:a16="http://schemas.microsoft.com/office/drawing/2014/main" id="{AF62D518-A804-CD34-220F-5F7BBFD65A68}"/>
                  </a:ext>
                </a:extLst>
              </p:cNvPr>
              <p:cNvGrpSpPr/>
              <p:nvPr/>
            </p:nvGrpSpPr>
            <p:grpSpPr>
              <a:xfrm>
                <a:off x="245462" y="3567107"/>
                <a:ext cx="8711386" cy="2150973"/>
                <a:chOff x="94323" y="2356664"/>
                <a:chExt cx="10087902" cy="2579661"/>
              </a:xfrm>
            </p:grpSpPr>
            <p:grpSp>
              <p:nvGrpSpPr>
                <p:cNvPr id="1372" name="Gruppieren 1371">
                  <a:extLst>
                    <a:ext uri="{FF2B5EF4-FFF2-40B4-BE49-F238E27FC236}">
                      <a16:creationId xmlns:a16="http://schemas.microsoft.com/office/drawing/2014/main" id="{D31333CB-A51E-9903-1DF6-CEE4A69BF8F6}"/>
                    </a:ext>
                  </a:extLst>
                </p:cNvPr>
                <p:cNvGrpSpPr/>
                <p:nvPr/>
              </p:nvGrpSpPr>
              <p:grpSpPr>
                <a:xfrm>
                  <a:off x="94323" y="2356664"/>
                  <a:ext cx="10087902" cy="1525301"/>
                  <a:chOff x="94323" y="2356664"/>
                  <a:chExt cx="10087902" cy="1525301"/>
                </a:xfrm>
              </p:grpSpPr>
              <p:grpSp>
                <p:nvGrpSpPr>
                  <p:cNvPr id="1376" name="Gruppieren 1375">
                    <a:extLst>
                      <a:ext uri="{FF2B5EF4-FFF2-40B4-BE49-F238E27FC236}">
                        <a16:creationId xmlns:a16="http://schemas.microsoft.com/office/drawing/2014/main" id="{7A1951B8-B747-522A-B9CD-C60B00E5AF33}"/>
                      </a:ext>
                    </a:extLst>
                  </p:cNvPr>
                  <p:cNvGrpSpPr/>
                  <p:nvPr/>
                </p:nvGrpSpPr>
                <p:grpSpPr>
                  <a:xfrm>
                    <a:off x="94323" y="2356664"/>
                    <a:ext cx="10087902" cy="1525301"/>
                    <a:chOff x="1755714" y="2452839"/>
                    <a:chExt cx="10087902" cy="1321959"/>
                  </a:xfrm>
                </p:grpSpPr>
                <p:grpSp>
                  <p:nvGrpSpPr>
                    <p:cNvPr id="1378" name="Gruppieren 1377">
                      <a:extLst>
                        <a:ext uri="{FF2B5EF4-FFF2-40B4-BE49-F238E27FC236}">
                          <a16:creationId xmlns:a16="http://schemas.microsoft.com/office/drawing/2014/main" id="{D8BA85E2-0295-716E-4CC6-BC3101A351E3}"/>
                        </a:ext>
                      </a:extLst>
                    </p:cNvPr>
                    <p:cNvGrpSpPr/>
                    <p:nvPr/>
                  </p:nvGrpSpPr>
                  <p:grpSpPr>
                    <a:xfrm>
                      <a:off x="1755714" y="2452845"/>
                      <a:ext cx="10087902" cy="1321953"/>
                      <a:chOff x="2335241" y="4138485"/>
                      <a:chExt cx="7878876" cy="1032474"/>
                    </a:xfrm>
                  </p:grpSpPr>
                  <p:grpSp>
                    <p:nvGrpSpPr>
                      <p:cNvPr id="1380" name="Gruppieren 1379">
                        <a:extLst>
                          <a:ext uri="{FF2B5EF4-FFF2-40B4-BE49-F238E27FC236}">
                            <a16:creationId xmlns:a16="http://schemas.microsoft.com/office/drawing/2014/main" id="{BDBF2048-3E52-EF75-C4EC-8C58925D0E81}"/>
                          </a:ext>
                        </a:extLst>
                      </p:cNvPr>
                      <p:cNvGrpSpPr/>
                      <p:nvPr/>
                    </p:nvGrpSpPr>
                    <p:grpSpPr>
                      <a:xfrm>
                        <a:off x="2339927" y="4138485"/>
                        <a:ext cx="7874190" cy="515550"/>
                        <a:chOff x="1121515" y="4164707"/>
                        <a:chExt cx="7874190" cy="515550"/>
                      </a:xfrm>
                    </p:grpSpPr>
                    <mc:AlternateContent xmlns:mc="http://schemas.openxmlformats.org/markup-compatibility/2006">
                      <mc:Choice xmlns:a14="http://schemas.microsoft.com/office/drawing/2010/main" Requires="a14">
                        <p:sp>
                          <p:nvSpPr>
                            <p:cNvPr id="1386" name="Rechteck 1385">
                              <a:extLst>
                                <a:ext uri="{FF2B5EF4-FFF2-40B4-BE49-F238E27FC236}">
                                  <a16:creationId xmlns:a16="http://schemas.microsoft.com/office/drawing/2014/main" id="{1CD5EFB7-256F-F986-69E3-515166DCA4AC}"/>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87" name="Gewinkelter Verbinder 6">
                          <a:extLst>
                            <a:ext uri="{FF2B5EF4-FFF2-40B4-BE49-F238E27FC236}">
                              <a16:creationId xmlns:a16="http://schemas.microsoft.com/office/drawing/2014/main" id="{5825B3D3-07B3-F5CA-053C-6BC5635A4098}"/>
                            </a:ext>
                          </a:extLst>
                        </p:cNvPr>
                        <p:cNvCxnSpPr>
                          <a:cxnSpLocks/>
                          <a:stCxn id="1388" idx="0"/>
                          <a:endCxn id="1379" idx="1"/>
                        </p:cNvCxnSpPr>
                        <p:nvPr/>
                      </p:nvCxnSpPr>
                      <p:spPr>
                        <a:xfrm rot="5400000" flipH="1" flipV="1">
                          <a:off x="1957408" y="3900412"/>
                          <a:ext cx="59576" cy="107536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88" name="Textfeld 1387">
                          <a:extLst>
                            <a:ext uri="{FF2B5EF4-FFF2-40B4-BE49-F238E27FC236}">
                              <a16:creationId xmlns:a16="http://schemas.microsoft.com/office/drawing/2014/main" id="{123C0F43-7DF1-EF43-0E7C-0DBB7EE54162}"/>
                            </a:ext>
                          </a:extLst>
                        </p:cNvPr>
                        <p:cNvSpPr txBox="1"/>
                        <p:nvPr/>
                      </p:nvSpPr>
                      <p:spPr>
                        <a:xfrm>
                          <a:off x="1121515" y="4467880"/>
                          <a:ext cx="65600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1381" name="Gruppieren 1380">
                        <a:extLst>
                          <a:ext uri="{FF2B5EF4-FFF2-40B4-BE49-F238E27FC236}">
                            <a16:creationId xmlns:a16="http://schemas.microsoft.com/office/drawing/2014/main" id="{FFD495A4-5E63-0E92-6C20-BC68ACD1D7F1}"/>
                          </a:ext>
                        </a:extLst>
                      </p:cNvPr>
                      <p:cNvGrpSpPr/>
                      <p:nvPr/>
                    </p:nvGrpSpPr>
                    <p:grpSpPr>
                      <a:xfrm>
                        <a:off x="2335241" y="4625687"/>
                        <a:ext cx="7878875" cy="545272"/>
                        <a:chOff x="1116830" y="3688471"/>
                        <a:chExt cx="7878875" cy="545272"/>
                      </a:xfrm>
                    </p:grpSpPr>
                    <mc:AlternateContent xmlns:mc="http://schemas.openxmlformats.org/markup-compatibility/2006">
                      <mc:Choice xmlns:a14="http://schemas.microsoft.com/office/drawing/2010/main" Requires="a14">
                        <p:sp>
                          <p:nvSpPr>
                            <p:cNvPr id="1382" name="Rechteck 1381">
                              <a:extLst>
                                <a:ext uri="{FF2B5EF4-FFF2-40B4-BE49-F238E27FC236}">
                                  <a16:creationId xmlns:a16="http://schemas.microsoft.com/office/drawing/2014/main" id="{0725B4E5-B0AA-911E-F02F-4EE9A55820C4}"/>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83" name="Gewinkelter Verbinder 18">
                          <a:extLst>
                            <a:ext uri="{FF2B5EF4-FFF2-40B4-BE49-F238E27FC236}">
                              <a16:creationId xmlns:a16="http://schemas.microsoft.com/office/drawing/2014/main" id="{035C4E99-9A81-AA28-2BD0-0238A4E16C09}"/>
                            </a:ext>
                          </a:extLst>
                        </p:cNvPr>
                        <p:cNvCxnSpPr>
                          <a:cxnSpLocks/>
                          <a:stCxn id="1385" idx="0"/>
                          <a:endCxn id="1377" idx="1"/>
                        </p:cNvCxnSpPr>
                        <p:nvPr/>
                      </p:nvCxnSpPr>
                      <p:spPr>
                        <a:xfrm rot="5400000" flipH="1" flipV="1">
                          <a:off x="2075979" y="3572470"/>
                          <a:ext cx="71241" cy="8265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85" name="Textfeld 1384">
                          <a:extLst>
                            <a:ext uri="{FF2B5EF4-FFF2-40B4-BE49-F238E27FC236}">
                              <a16:creationId xmlns:a16="http://schemas.microsoft.com/office/drawing/2014/main" id="{C9326BDD-9470-9450-74F5-A7D8154688CE}"/>
                            </a:ext>
                          </a:extLst>
                        </p:cNvPr>
                        <p:cNvSpPr txBox="1"/>
                        <p:nvPr/>
                      </p:nvSpPr>
                      <p:spPr>
                        <a:xfrm>
                          <a:off x="1116830" y="4021366"/>
                          <a:ext cx="1162988"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379" name="Rechteck 1378">
                      <a:extLst>
                        <a:ext uri="{FF2B5EF4-FFF2-40B4-BE49-F238E27FC236}">
                          <a16:creationId xmlns:a16="http://schemas.microsoft.com/office/drawing/2014/main" id="{63D1CE89-5F52-4423-163E-AA0E3EAADC50}"/>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377" name="Rechteck 1376">
                    <a:extLst>
                      <a:ext uri="{FF2B5EF4-FFF2-40B4-BE49-F238E27FC236}">
                        <a16:creationId xmlns:a16="http://schemas.microsoft.com/office/drawing/2014/main" id="{6D0AD925-74F9-71D6-025B-0F47DC156C30}"/>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mc:Choice xmlns:a14="http://schemas.microsoft.com/office/drawing/2010/main" Requires="a14">
                <p:sp>
                  <p:nvSpPr>
                    <p:cNvPr id="1373" name="Rechteck 1372">
                      <a:extLst>
                        <a:ext uri="{FF2B5EF4-FFF2-40B4-BE49-F238E27FC236}">
                          <a16:creationId xmlns:a16="http://schemas.microsoft.com/office/drawing/2014/main" id="{0531D47D-0A3A-DCF4-1F30-2B1B99AB6104}"/>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74" name="Gewinkelter Verbinder 18">
                  <a:extLst>
                    <a:ext uri="{FF2B5EF4-FFF2-40B4-BE49-F238E27FC236}">
                      <a16:creationId xmlns:a16="http://schemas.microsoft.com/office/drawing/2014/main" id="{6091FE53-AEB3-4037-5A64-D684D909AFFA}"/>
                    </a:ext>
                  </a:extLst>
                </p:cNvPr>
                <p:cNvCxnSpPr>
                  <a:cxnSpLocks/>
                  <a:stCxn id="1375" idx="0"/>
                  <a:endCxn id="1373" idx="1"/>
                </p:cNvCxnSpPr>
                <p:nvPr/>
              </p:nvCxnSpPr>
              <p:spPr>
                <a:xfrm rot="5400000" flipH="1" flipV="1">
                  <a:off x="1336257" y="3857792"/>
                  <a:ext cx="221249" cy="9022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75" name="Textfeld 1374">
                  <a:extLst>
                    <a:ext uri="{FF2B5EF4-FFF2-40B4-BE49-F238E27FC236}">
                      <a16:creationId xmlns:a16="http://schemas.microsoft.com/office/drawing/2014/main" id="{E7D27062-3E46-2149-5632-C4BEED89D62C}"/>
                    </a:ext>
                  </a:extLst>
                </p:cNvPr>
                <p:cNvSpPr txBox="1"/>
                <p:nvPr/>
              </p:nvSpPr>
              <p:spPr>
                <a:xfrm>
                  <a:off x="94323" y="4419562"/>
                  <a:ext cx="1802824" cy="516763"/>
                </a:xfrm>
                <a:prstGeom prst="rect">
                  <a:avLst/>
                </a:prstGeom>
                <a:noFill/>
              </p:spPr>
              <p:txBody>
                <a:bodyPr wrap="square" rtlCol="0">
                  <a:spAutoFit/>
                </a:bodyPr>
                <a:lstStyle/>
                <a:p>
                  <a:r>
                    <a:rPr lang="en-US" sz="1100" dirty="0">
                      <a:latin typeface="Daimler CS" pitchFamily="2" charset="0"/>
                    </a:rPr>
                    <a:t>one-hot vector 1:17 (from 1:288)</a:t>
                  </a:r>
                  <a:endParaRPr lang="de-DE" sz="1100" dirty="0">
                    <a:latin typeface="Daimler CS" pitchFamily="2" charset="0"/>
                  </a:endParaRPr>
                </a:p>
              </p:txBody>
            </p:sp>
          </p:grpSp>
        </p:grpSp>
        <p:pic>
          <p:nvPicPr>
            <p:cNvPr id="1389" name="Grafik 1388">
              <a:extLst>
                <a:ext uri="{FF2B5EF4-FFF2-40B4-BE49-F238E27FC236}">
                  <a16:creationId xmlns:a16="http://schemas.microsoft.com/office/drawing/2014/main" id="{6903475E-AF07-969E-9ED7-D247AFC07999}"/>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103</Words>
  <Application>Microsoft Office PowerPoint</Application>
  <PresentationFormat>Breitbild</PresentationFormat>
  <Paragraphs>1254</Paragraphs>
  <Slides>48</Slides>
  <Notes>39</Notes>
  <HiddenSlides>13</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8</vt:i4>
      </vt:variant>
    </vt:vector>
  </HeadingPairs>
  <TitlesOfParts>
    <vt:vector size="59"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08</cp:revision>
  <dcterms:created xsi:type="dcterms:W3CDTF">2022-02-05T01:08:08Z</dcterms:created>
  <dcterms:modified xsi:type="dcterms:W3CDTF">2024-05-21T17:2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